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3095625" cy="1260475"/>
  <p:notesSz cx="7102475" cy="10233025"/>
  <p:custDataLst>
    <p:tags r:id="rId3"/>
  </p:custDataLst>
  <p:defaultTextStyle>
    <a:defPPr>
      <a:defRPr lang="de-DE"/>
    </a:defPPr>
    <a:lvl1pPr marL="0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1pPr>
    <a:lvl2pPr marL="129395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2pPr>
    <a:lvl3pPr marL="258788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3pPr>
    <a:lvl4pPr marL="388183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4pPr>
    <a:lvl5pPr marL="517578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5pPr>
    <a:lvl6pPr marL="646972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6pPr>
    <a:lvl7pPr marL="776367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7pPr>
    <a:lvl8pPr marL="905760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8pPr>
    <a:lvl9pPr marL="1035155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8" userDrawn="1">
          <p15:clr>
            <a:srgbClr val="A4A3A4"/>
          </p15:clr>
        </p15:guide>
        <p15:guide id="2" pos="97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38" autoAdjust="0"/>
    <p:restoredTop sz="94660"/>
  </p:normalViewPr>
  <p:slideViewPr>
    <p:cSldViewPr>
      <p:cViewPr>
        <p:scale>
          <a:sx n="400" d="100"/>
          <a:sy n="400" d="100"/>
        </p:scale>
        <p:origin x="786" y="912"/>
      </p:cViewPr>
      <p:guideLst>
        <p:guide orient="horz" pos="398"/>
        <p:guide pos="976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32172" y="391564"/>
            <a:ext cx="2631282" cy="270186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4345" y="714270"/>
            <a:ext cx="2166937" cy="3221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6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2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9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65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81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98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14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30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2244331" y="50477"/>
            <a:ext cx="696516" cy="1075489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54781" y="50477"/>
            <a:ext cx="2037954" cy="1075489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4533" y="809972"/>
            <a:ext cx="2631282" cy="250344"/>
          </a:xfrm>
        </p:spPr>
        <p:txBody>
          <a:bodyPr anchor="t"/>
          <a:lstStyle>
            <a:lvl1pPr algn="l">
              <a:defRPr sz="4518" b="1" cap="all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44533" y="534244"/>
            <a:ext cx="2631282" cy="275729"/>
          </a:xfrm>
        </p:spPr>
        <p:txBody>
          <a:bodyPr anchor="b"/>
          <a:lstStyle>
            <a:lvl1pPr marL="0" indent="0">
              <a:buNone/>
              <a:defRPr sz="2259">
                <a:solidFill>
                  <a:schemeClr val="tx1">
                    <a:tint val="75000"/>
                  </a:schemeClr>
                </a:solidFill>
              </a:defRPr>
            </a:lvl1pPr>
            <a:lvl2pPr marL="516362" indent="0">
              <a:buNone/>
              <a:defRPr sz="2033">
                <a:solidFill>
                  <a:schemeClr val="tx1">
                    <a:tint val="75000"/>
                  </a:schemeClr>
                </a:solidFill>
              </a:defRPr>
            </a:lvl2pPr>
            <a:lvl3pPr marL="1032723" indent="0">
              <a:buNone/>
              <a:defRPr sz="1807">
                <a:solidFill>
                  <a:schemeClr val="tx1">
                    <a:tint val="75000"/>
                  </a:schemeClr>
                </a:solidFill>
              </a:defRPr>
            </a:lvl3pPr>
            <a:lvl4pPr marL="1549085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4pPr>
            <a:lvl5pPr marL="2065447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5pPr>
            <a:lvl6pPr marL="2581808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6pPr>
            <a:lvl7pPr marL="3098170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7pPr>
            <a:lvl8pPr marL="3614532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8pPr>
            <a:lvl9pPr marL="4130893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54784" y="294113"/>
            <a:ext cx="1367235" cy="831855"/>
          </a:xfrm>
        </p:spPr>
        <p:txBody>
          <a:bodyPr/>
          <a:lstStyle>
            <a:lvl1pPr>
              <a:defRPr sz="3162"/>
            </a:lvl1pPr>
            <a:lvl2pPr>
              <a:defRPr sz="2711"/>
            </a:lvl2pPr>
            <a:lvl3pPr>
              <a:defRPr sz="2259"/>
            </a:lvl3pPr>
            <a:lvl4pPr>
              <a:defRPr sz="2033"/>
            </a:lvl4pPr>
            <a:lvl5pPr>
              <a:defRPr sz="2033"/>
            </a:lvl5pPr>
            <a:lvl6pPr>
              <a:defRPr sz="2033"/>
            </a:lvl6pPr>
            <a:lvl7pPr>
              <a:defRPr sz="2033"/>
            </a:lvl7pPr>
            <a:lvl8pPr>
              <a:defRPr sz="2033"/>
            </a:lvl8pPr>
            <a:lvl9pPr>
              <a:defRPr sz="2033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573611" y="294113"/>
            <a:ext cx="1367235" cy="831855"/>
          </a:xfrm>
        </p:spPr>
        <p:txBody>
          <a:bodyPr/>
          <a:lstStyle>
            <a:lvl1pPr>
              <a:defRPr sz="3162"/>
            </a:lvl1pPr>
            <a:lvl2pPr>
              <a:defRPr sz="2711"/>
            </a:lvl2pPr>
            <a:lvl3pPr>
              <a:defRPr sz="2259"/>
            </a:lvl3pPr>
            <a:lvl4pPr>
              <a:defRPr sz="2033"/>
            </a:lvl4pPr>
            <a:lvl5pPr>
              <a:defRPr sz="2033"/>
            </a:lvl5pPr>
            <a:lvl6pPr>
              <a:defRPr sz="2033"/>
            </a:lvl6pPr>
            <a:lvl7pPr>
              <a:defRPr sz="2033"/>
            </a:lvl7pPr>
            <a:lvl8pPr>
              <a:defRPr sz="2033"/>
            </a:lvl8pPr>
            <a:lvl9pPr>
              <a:defRPr sz="2033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54781" y="282148"/>
            <a:ext cx="1367772" cy="117586"/>
          </a:xfrm>
        </p:spPr>
        <p:txBody>
          <a:bodyPr anchor="b"/>
          <a:lstStyle>
            <a:lvl1pPr marL="0" indent="0">
              <a:buNone/>
              <a:defRPr sz="2711" b="1"/>
            </a:lvl1pPr>
            <a:lvl2pPr marL="516362" indent="0">
              <a:buNone/>
              <a:defRPr sz="2259" b="1"/>
            </a:lvl2pPr>
            <a:lvl3pPr marL="1032723" indent="0">
              <a:buNone/>
              <a:defRPr sz="2033" b="1"/>
            </a:lvl3pPr>
            <a:lvl4pPr marL="1549085" indent="0">
              <a:buNone/>
              <a:defRPr sz="1807" b="1"/>
            </a:lvl4pPr>
            <a:lvl5pPr marL="2065447" indent="0">
              <a:buNone/>
              <a:defRPr sz="1807" b="1"/>
            </a:lvl5pPr>
            <a:lvl6pPr marL="2581808" indent="0">
              <a:buNone/>
              <a:defRPr sz="1807" b="1"/>
            </a:lvl6pPr>
            <a:lvl7pPr marL="3098170" indent="0">
              <a:buNone/>
              <a:defRPr sz="1807" b="1"/>
            </a:lvl7pPr>
            <a:lvl8pPr marL="3614532" indent="0">
              <a:buNone/>
              <a:defRPr sz="1807" b="1"/>
            </a:lvl8pPr>
            <a:lvl9pPr marL="4130893" indent="0">
              <a:buNone/>
              <a:defRPr sz="1807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54781" y="399735"/>
            <a:ext cx="1367772" cy="726232"/>
          </a:xfrm>
        </p:spPr>
        <p:txBody>
          <a:bodyPr/>
          <a:lstStyle>
            <a:lvl1pPr>
              <a:defRPr sz="2711"/>
            </a:lvl1pPr>
            <a:lvl2pPr>
              <a:defRPr sz="2259"/>
            </a:lvl2pPr>
            <a:lvl3pPr>
              <a:defRPr sz="2033"/>
            </a:lvl3pPr>
            <a:lvl4pPr>
              <a:defRPr sz="1807"/>
            </a:lvl4pPr>
            <a:lvl5pPr>
              <a:defRPr sz="1807"/>
            </a:lvl5pPr>
            <a:lvl6pPr>
              <a:defRPr sz="1807"/>
            </a:lvl6pPr>
            <a:lvl7pPr>
              <a:defRPr sz="1807"/>
            </a:lvl7pPr>
            <a:lvl8pPr>
              <a:defRPr sz="1807"/>
            </a:lvl8pPr>
            <a:lvl9pPr>
              <a:defRPr sz="1807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1572538" y="282148"/>
            <a:ext cx="1368309" cy="117586"/>
          </a:xfrm>
        </p:spPr>
        <p:txBody>
          <a:bodyPr anchor="b"/>
          <a:lstStyle>
            <a:lvl1pPr marL="0" indent="0">
              <a:buNone/>
              <a:defRPr sz="2711" b="1"/>
            </a:lvl1pPr>
            <a:lvl2pPr marL="516362" indent="0">
              <a:buNone/>
              <a:defRPr sz="2259" b="1"/>
            </a:lvl2pPr>
            <a:lvl3pPr marL="1032723" indent="0">
              <a:buNone/>
              <a:defRPr sz="2033" b="1"/>
            </a:lvl3pPr>
            <a:lvl4pPr marL="1549085" indent="0">
              <a:buNone/>
              <a:defRPr sz="1807" b="1"/>
            </a:lvl4pPr>
            <a:lvl5pPr marL="2065447" indent="0">
              <a:buNone/>
              <a:defRPr sz="1807" b="1"/>
            </a:lvl5pPr>
            <a:lvl6pPr marL="2581808" indent="0">
              <a:buNone/>
              <a:defRPr sz="1807" b="1"/>
            </a:lvl6pPr>
            <a:lvl7pPr marL="3098170" indent="0">
              <a:buNone/>
              <a:defRPr sz="1807" b="1"/>
            </a:lvl7pPr>
            <a:lvl8pPr marL="3614532" indent="0">
              <a:buNone/>
              <a:defRPr sz="1807" b="1"/>
            </a:lvl8pPr>
            <a:lvl9pPr marL="4130893" indent="0">
              <a:buNone/>
              <a:defRPr sz="1807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1572538" y="399735"/>
            <a:ext cx="1368309" cy="726232"/>
          </a:xfrm>
        </p:spPr>
        <p:txBody>
          <a:bodyPr/>
          <a:lstStyle>
            <a:lvl1pPr>
              <a:defRPr sz="2711"/>
            </a:lvl1pPr>
            <a:lvl2pPr>
              <a:defRPr sz="2259"/>
            </a:lvl2pPr>
            <a:lvl3pPr>
              <a:defRPr sz="2033"/>
            </a:lvl3pPr>
            <a:lvl4pPr>
              <a:defRPr sz="1807"/>
            </a:lvl4pPr>
            <a:lvl5pPr>
              <a:defRPr sz="1807"/>
            </a:lvl5pPr>
            <a:lvl6pPr>
              <a:defRPr sz="1807"/>
            </a:lvl6pPr>
            <a:lvl7pPr>
              <a:defRPr sz="1807"/>
            </a:lvl7pPr>
            <a:lvl8pPr>
              <a:defRPr sz="1807"/>
            </a:lvl8pPr>
            <a:lvl9pPr>
              <a:defRPr sz="1807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4784" y="50187"/>
            <a:ext cx="1018439" cy="213580"/>
          </a:xfrm>
        </p:spPr>
        <p:txBody>
          <a:bodyPr anchor="b"/>
          <a:lstStyle>
            <a:lvl1pPr algn="l">
              <a:defRPr sz="2259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210304" y="50186"/>
            <a:ext cx="1730540" cy="1075780"/>
          </a:xfrm>
        </p:spPr>
        <p:txBody>
          <a:bodyPr/>
          <a:lstStyle>
            <a:lvl1pPr>
              <a:defRPr sz="3614"/>
            </a:lvl1pPr>
            <a:lvl2pPr>
              <a:defRPr sz="3162"/>
            </a:lvl2pPr>
            <a:lvl3pPr>
              <a:defRPr sz="2711"/>
            </a:lvl3pPr>
            <a:lvl4pPr>
              <a:defRPr sz="2259"/>
            </a:lvl4pPr>
            <a:lvl5pPr>
              <a:defRPr sz="2259"/>
            </a:lvl5pPr>
            <a:lvl6pPr>
              <a:defRPr sz="2259"/>
            </a:lvl6pPr>
            <a:lvl7pPr>
              <a:defRPr sz="2259"/>
            </a:lvl7pPr>
            <a:lvl8pPr>
              <a:defRPr sz="2259"/>
            </a:lvl8pPr>
            <a:lvl9pPr>
              <a:defRPr sz="2259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54784" y="263767"/>
            <a:ext cx="1018439" cy="862200"/>
          </a:xfrm>
        </p:spPr>
        <p:txBody>
          <a:bodyPr/>
          <a:lstStyle>
            <a:lvl1pPr marL="0" indent="0">
              <a:buNone/>
              <a:defRPr sz="1581"/>
            </a:lvl1pPr>
            <a:lvl2pPr marL="516362" indent="0">
              <a:buNone/>
              <a:defRPr sz="1355"/>
            </a:lvl2pPr>
            <a:lvl3pPr marL="1032723" indent="0">
              <a:buNone/>
              <a:defRPr sz="1129"/>
            </a:lvl3pPr>
            <a:lvl4pPr marL="1549085" indent="0">
              <a:buNone/>
              <a:defRPr sz="1016"/>
            </a:lvl4pPr>
            <a:lvl5pPr marL="2065447" indent="0">
              <a:buNone/>
              <a:defRPr sz="1016"/>
            </a:lvl5pPr>
            <a:lvl6pPr marL="2581808" indent="0">
              <a:buNone/>
              <a:defRPr sz="1016"/>
            </a:lvl6pPr>
            <a:lvl7pPr marL="3098170" indent="0">
              <a:buNone/>
              <a:defRPr sz="1016"/>
            </a:lvl7pPr>
            <a:lvl8pPr marL="3614532" indent="0">
              <a:buNone/>
              <a:defRPr sz="1016"/>
            </a:lvl8pPr>
            <a:lvl9pPr marL="4130893" indent="0">
              <a:buNone/>
              <a:defRPr sz="1016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6765" y="882334"/>
            <a:ext cx="1857375" cy="104164"/>
          </a:xfrm>
        </p:spPr>
        <p:txBody>
          <a:bodyPr anchor="b"/>
          <a:lstStyle>
            <a:lvl1pPr algn="l">
              <a:defRPr sz="2259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606765" y="112627"/>
            <a:ext cx="1857375" cy="756285"/>
          </a:xfrm>
        </p:spPr>
        <p:txBody>
          <a:bodyPr/>
          <a:lstStyle>
            <a:lvl1pPr marL="0" indent="0">
              <a:buNone/>
              <a:defRPr sz="3614"/>
            </a:lvl1pPr>
            <a:lvl2pPr marL="516362" indent="0">
              <a:buNone/>
              <a:defRPr sz="3162"/>
            </a:lvl2pPr>
            <a:lvl3pPr marL="1032723" indent="0">
              <a:buNone/>
              <a:defRPr sz="2711"/>
            </a:lvl3pPr>
            <a:lvl4pPr marL="1549085" indent="0">
              <a:buNone/>
              <a:defRPr sz="2259"/>
            </a:lvl4pPr>
            <a:lvl5pPr marL="2065447" indent="0">
              <a:buNone/>
              <a:defRPr sz="2259"/>
            </a:lvl5pPr>
            <a:lvl6pPr marL="2581808" indent="0">
              <a:buNone/>
              <a:defRPr sz="2259"/>
            </a:lvl6pPr>
            <a:lvl7pPr marL="3098170" indent="0">
              <a:buNone/>
              <a:defRPr sz="2259"/>
            </a:lvl7pPr>
            <a:lvl8pPr marL="3614532" indent="0">
              <a:buNone/>
              <a:defRPr sz="2259"/>
            </a:lvl8pPr>
            <a:lvl9pPr marL="4130893" indent="0">
              <a:buNone/>
              <a:defRPr sz="2259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6765" y="986497"/>
            <a:ext cx="1857375" cy="147931"/>
          </a:xfrm>
        </p:spPr>
        <p:txBody>
          <a:bodyPr/>
          <a:lstStyle>
            <a:lvl1pPr marL="0" indent="0">
              <a:buNone/>
              <a:defRPr sz="1581"/>
            </a:lvl1pPr>
            <a:lvl2pPr marL="516362" indent="0">
              <a:buNone/>
              <a:defRPr sz="1355"/>
            </a:lvl2pPr>
            <a:lvl3pPr marL="1032723" indent="0">
              <a:buNone/>
              <a:defRPr sz="1129"/>
            </a:lvl3pPr>
            <a:lvl4pPr marL="1549085" indent="0">
              <a:buNone/>
              <a:defRPr sz="1016"/>
            </a:lvl4pPr>
            <a:lvl5pPr marL="2065447" indent="0">
              <a:buNone/>
              <a:defRPr sz="1016"/>
            </a:lvl5pPr>
            <a:lvl6pPr marL="2581808" indent="0">
              <a:buNone/>
              <a:defRPr sz="1016"/>
            </a:lvl6pPr>
            <a:lvl7pPr marL="3098170" indent="0">
              <a:buNone/>
              <a:defRPr sz="1016"/>
            </a:lvl7pPr>
            <a:lvl8pPr marL="3614532" indent="0">
              <a:buNone/>
              <a:defRPr sz="1016"/>
            </a:lvl8pPr>
            <a:lvl9pPr marL="4130893" indent="0">
              <a:buNone/>
              <a:defRPr sz="1016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31278781"/>
              </p:ext>
            </p:extLst>
          </p:nvPr>
        </p:nvGraphicFramePr>
        <p:xfrm>
          <a:off x="537" y="293"/>
          <a:ext cx="538" cy="2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Folie" r:id="rId16" imgW="384" imgH="384" progId="TCLayout.ActiveDocument.1">
                  <p:embed/>
                </p:oleObj>
              </mc:Choice>
              <mc:Fallback>
                <p:oleObj name="think-cell Folie" r:id="rId1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537" y="293"/>
                        <a:ext cx="538" cy="2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5"/>
            </p:custDataLst>
          </p:nvPr>
        </p:nvSpPr>
        <p:spPr>
          <a:xfrm>
            <a:off x="3" y="0"/>
            <a:ext cx="53744" cy="291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4969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54782" y="50479"/>
            <a:ext cx="2786063" cy="2100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54782" y="294113"/>
            <a:ext cx="2786063" cy="8318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54784" y="1168274"/>
            <a:ext cx="722312" cy="67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057673" y="1168274"/>
            <a:ext cx="980281" cy="67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18535" y="1168274"/>
            <a:ext cx="722312" cy="67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032723" rtl="0" eaLnBrk="1" latinLnBrk="0" hangingPunct="1">
        <a:spcBef>
          <a:spcPct val="0"/>
        </a:spcBef>
        <a:buNone/>
        <a:defRPr sz="4969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7271" indent="-387271" algn="l" defTabSz="1032723" rtl="0" eaLnBrk="1" latinLnBrk="0" hangingPunct="1">
        <a:spcBef>
          <a:spcPct val="20000"/>
        </a:spcBef>
        <a:buFont typeface="Arial" pitchFamily="34" charset="0"/>
        <a:buChar char="•"/>
        <a:defRPr sz="3614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839088" indent="-322726" algn="l" defTabSz="1032723" rtl="0" eaLnBrk="1" latinLnBrk="0" hangingPunct="1">
        <a:spcBef>
          <a:spcPct val="20000"/>
        </a:spcBef>
        <a:buFont typeface="Arial" pitchFamily="34" charset="0"/>
        <a:buChar char="–"/>
        <a:defRPr sz="3162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290904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71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807266" indent="-258181" algn="l" defTabSz="1032723" rtl="0" eaLnBrk="1" latinLnBrk="0" hangingPunct="1">
        <a:spcBef>
          <a:spcPct val="20000"/>
        </a:spcBef>
        <a:buFont typeface="Arial" pitchFamily="34" charset="0"/>
        <a:buChar char="–"/>
        <a:defRPr sz="225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323628" indent="-258181" algn="l" defTabSz="1032723" rtl="0" eaLnBrk="1" latinLnBrk="0" hangingPunct="1">
        <a:spcBef>
          <a:spcPct val="20000"/>
        </a:spcBef>
        <a:buFont typeface="Arial" pitchFamily="34" charset="0"/>
        <a:buChar char="»"/>
        <a:defRPr sz="225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839989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6pPr>
      <a:lvl7pPr marL="3356351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7pPr>
      <a:lvl8pPr marL="3872713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8pPr>
      <a:lvl9pPr marL="4389074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1pPr>
      <a:lvl2pPr marL="516362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2pPr>
      <a:lvl3pPr marL="1032723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3pPr>
      <a:lvl4pPr marL="1549085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4pPr>
      <a:lvl5pPr marL="2065447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5pPr>
      <a:lvl6pPr marL="2581808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6pPr>
      <a:lvl7pPr marL="3098170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7pPr>
      <a:lvl8pPr marL="3614532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8pPr>
      <a:lvl9pPr marL="4130893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5023990"/>
              </p:ext>
            </p:extLst>
          </p:nvPr>
        </p:nvGraphicFramePr>
        <p:xfrm>
          <a:off x="-3739290" y="-3159256"/>
          <a:ext cx="1794" cy="1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Folie" r:id="rId4" imgW="384" imgH="384" progId="TCLayout.ActiveDocument.1">
                  <p:embed/>
                </p:oleObj>
              </mc:Choice>
              <mc:Fallback>
                <p:oleObj name="think-cell Foli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3739290" y="-3159256"/>
                        <a:ext cx="1794" cy="1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5D20F32B-8E9D-4F1B-9EB4-FAB36A9111D3}"/>
              </a:ext>
            </a:extLst>
          </p:cNvPr>
          <p:cNvSpPr txBox="1"/>
          <p:nvPr/>
        </p:nvSpPr>
        <p:spPr>
          <a:xfrm>
            <a:off x="1118766" y="0"/>
            <a:ext cx="853861" cy="123111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ad</a:t>
            </a:r>
            <a:r>
              <a:rPr lang="de-DE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etwork</a:t>
            </a:r>
            <a:endParaRPr lang="de-DE"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619E4E1-5054-4B30-9C63-200185D48ECC}"/>
              </a:ext>
            </a:extLst>
          </p:cNvPr>
          <p:cNvSpPr txBox="1"/>
          <p:nvPr/>
        </p:nvSpPr>
        <p:spPr>
          <a:xfrm>
            <a:off x="1118768" y="373770"/>
            <a:ext cx="853861" cy="123111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egments</a:t>
            </a:r>
            <a:endParaRPr lang="de-DE"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7713E05-B27E-4CC5-B4A5-0F96C1BA92A2}"/>
              </a:ext>
            </a:extLst>
          </p:cNvPr>
          <p:cNvSpPr txBox="1"/>
          <p:nvPr/>
        </p:nvSpPr>
        <p:spPr>
          <a:xfrm>
            <a:off x="127679" y="373770"/>
            <a:ext cx="853861" cy="123111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eg</a:t>
            </a:r>
            <a:r>
              <a:rPr lang="de-DE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de-DE" sz="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ssembly</a:t>
            </a:r>
            <a:endParaRPr lang="de-DE"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B714C05-CE75-41D8-95FF-7FE1C76EB047}"/>
              </a:ext>
            </a:extLst>
          </p:cNvPr>
          <p:cNvSpPr txBox="1"/>
          <p:nvPr/>
        </p:nvSpPr>
        <p:spPr>
          <a:xfrm>
            <a:off x="2109857" y="373770"/>
            <a:ext cx="853861" cy="123111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lose</a:t>
            </a:r>
            <a:r>
              <a:rPr lang="de-DE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ad</a:t>
            </a:r>
            <a:r>
              <a:rPr lang="de-DE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etw</a:t>
            </a:r>
            <a:r>
              <a:rPr lang="de-DE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cxnSp>
        <p:nvCxnSpPr>
          <p:cNvPr id="8" name="Verbinder: gewinkelt 22">
            <a:extLst>
              <a:ext uri="{FF2B5EF4-FFF2-40B4-BE49-F238E27FC236}">
                <a16:creationId xmlns:a16="http://schemas.microsoft.com/office/drawing/2014/main" id="{FABC8B60-4F69-48AA-A64B-0CC4A822FA7A}"/>
              </a:ext>
            </a:extLst>
          </p:cNvPr>
          <p:cNvCxnSpPr>
            <a:cxnSpLocks/>
            <a:stCxn id="4" idx="2"/>
            <a:endCxn id="6" idx="0"/>
          </p:cNvCxnSpPr>
          <p:nvPr/>
        </p:nvCxnSpPr>
        <p:spPr>
          <a:xfrm rot="5400000">
            <a:off x="924825" y="-247103"/>
            <a:ext cx="250659" cy="991087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Verbinder: gewinkelt 23">
            <a:extLst>
              <a:ext uri="{FF2B5EF4-FFF2-40B4-BE49-F238E27FC236}">
                <a16:creationId xmlns:a16="http://schemas.microsoft.com/office/drawing/2014/main" id="{620ADB48-B33C-4F91-96C7-24056AAAE0C0}"/>
              </a:ext>
            </a:extLst>
          </p:cNvPr>
          <p:cNvCxnSpPr>
            <a:cxnSpLocks/>
            <a:stCxn id="4" idx="2"/>
            <a:endCxn id="7" idx="0"/>
          </p:cNvCxnSpPr>
          <p:nvPr/>
        </p:nvCxnSpPr>
        <p:spPr>
          <a:xfrm rot="16200000" flipH="1">
            <a:off x="1915913" y="-247106"/>
            <a:ext cx="250659" cy="991091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8770D89A-388E-4020-BA63-919B4FA9847D}"/>
              </a:ext>
            </a:extLst>
          </p:cNvPr>
          <p:cNvCxnSpPr>
            <a:cxnSpLocks/>
            <a:stCxn id="4" idx="2"/>
            <a:endCxn id="5" idx="0"/>
          </p:cNvCxnSpPr>
          <p:nvPr/>
        </p:nvCxnSpPr>
        <p:spPr>
          <a:xfrm>
            <a:off x="1545697" y="123111"/>
            <a:ext cx="2" cy="250659"/>
          </a:xfrm>
          <a:prstGeom prst="straightConnector1">
            <a:avLst/>
          </a:prstGeom>
          <a:ln w="6350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1AE95286-9D9B-4C28-8768-8F4C79A7BB17}"/>
              </a:ext>
            </a:extLst>
          </p:cNvPr>
          <p:cNvSpPr txBox="1"/>
          <p:nvPr/>
        </p:nvSpPr>
        <p:spPr>
          <a:xfrm>
            <a:off x="125071" y="747540"/>
            <a:ext cx="853861" cy="123111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defRPr sz="799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sz="800" dirty="0" err="1"/>
              <a:t>roundabout</a:t>
            </a:r>
            <a:endParaRPr lang="de-DE" sz="8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2265E1A-63FC-49DE-A2B5-7A15655C68BB}"/>
              </a:ext>
            </a:extLst>
          </p:cNvPr>
          <p:cNvSpPr txBox="1"/>
          <p:nvPr/>
        </p:nvSpPr>
        <p:spPr>
          <a:xfrm>
            <a:off x="2109974" y="747540"/>
            <a:ext cx="853861" cy="123111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defRPr sz="799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sz="800" dirty="0" err="1"/>
              <a:t>connection</a:t>
            </a:r>
            <a:r>
              <a:rPr lang="de-DE" sz="800" dirty="0"/>
              <a:t> </a:t>
            </a:r>
            <a:r>
              <a:rPr lang="de-DE" sz="800" dirty="0" err="1"/>
              <a:t>road</a:t>
            </a:r>
            <a:endParaRPr lang="de-DE" sz="800" dirty="0"/>
          </a:p>
        </p:txBody>
      </p:sp>
      <p:cxnSp>
        <p:nvCxnSpPr>
          <p:cNvPr id="13" name="Verbinder: gewinkelt 26">
            <a:extLst>
              <a:ext uri="{FF2B5EF4-FFF2-40B4-BE49-F238E27FC236}">
                <a16:creationId xmlns:a16="http://schemas.microsoft.com/office/drawing/2014/main" id="{6656A243-A4FB-4641-A5E2-5F49F0A7C31E}"/>
              </a:ext>
            </a:extLst>
          </p:cNvPr>
          <p:cNvCxnSpPr>
            <a:cxnSpLocks/>
            <a:stCxn id="5" idx="2"/>
            <a:endCxn id="12" idx="0"/>
          </p:cNvCxnSpPr>
          <p:nvPr/>
        </p:nvCxnSpPr>
        <p:spPr>
          <a:xfrm rot="16200000" flipH="1">
            <a:off x="1915973" y="126607"/>
            <a:ext cx="250659" cy="991206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Verbinder: gewinkelt 48">
            <a:extLst>
              <a:ext uri="{FF2B5EF4-FFF2-40B4-BE49-F238E27FC236}">
                <a16:creationId xmlns:a16="http://schemas.microsoft.com/office/drawing/2014/main" id="{53BD5361-2AC7-4DB3-9170-840CAC37298E}"/>
              </a:ext>
            </a:extLst>
          </p:cNvPr>
          <p:cNvCxnSpPr>
            <a:cxnSpLocks/>
            <a:stCxn id="11" idx="2"/>
            <a:endCxn id="22" idx="0"/>
          </p:cNvCxnSpPr>
          <p:nvPr/>
        </p:nvCxnSpPr>
        <p:spPr>
          <a:xfrm rot="16200000" flipH="1">
            <a:off x="619521" y="803132"/>
            <a:ext cx="245349" cy="380386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EF295570-D73D-4E8D-AC65-F1C6B442C625}"/>
              </a:ext>
            </a:extLst>
          </p:cNvPr>
          <p:cNvCxnSpPr>
            <a:cxnSpLocks/>
            <a:stCxn id="12" idx="2"/>
            <a:endCxn id="14" idx="0"/>
          </p:cNvCxnSpPr>
          <p:nvPr/>
        </p:nvCxnSpPr>
        <p:spPr>
          <a:xfrm flipH="1">
            <a:off x="2536787" y="870651"/>
            <a:ext cx="118" cy="245349"/>
          </a:xfrm>
          <a:prstGeom prst="straightConnector1">
            <a:avLst/>
          </a:prstGeom>
          <a:ln w="6350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2D69334D-AB37-1247-9581-73723A493824}"/>
              </a:ext>
            </a:extLst>
          </p:cNvPr>
          <p:cNvSpPr txBox="1"/>
          <p:nvPr/>
        </p:nvSpPr>
        <p:spPr>
          <a:xfrm>
            <a:off x="1118766" y="747540"/>
            <a:ext cx="853861" cy="123111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defRPr sz="799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sz="800" dirty="0"/>
              <a:t>T / X </a:t>
            </a:r>
            <a:r>
              <a:rPr lang="de-DE" sz="800" dirty="0" err="1"/>
              <a:t>junction</a:t>
            </a:r>
            <a:endParaRPr lang="de-DE" sz="800" dirty="0"/>
          </a:p>
        </p:txBody>
      </p:sp>
      <p:cxnSp>
        <p:nvCxnSpPr>
          <p:cNvPr id="18" name="Verbinder: gewinkelt 48">
            <a:extLst>
              <a:ext uri="{FF2B5EF4-FFF2-40B4-BE49-F238E27FC236}">
                <a16:creationId xmlns:a16="http://schemas.microsoft.com/office/drawing/2014/main" id="{976CDA94-C2AD-3347-8E44-796AB8BE4483}"/>
              </a:ext>
            </a:extLst>
          </p:cNvPr>
          <p:cNvCxnSpPr>
            <a:cxnSpLocks/>
            <a:stCxn id="17" idx="2"/>
            <a:endCxn id="26" idx="0"/>
          </p:cNvCxnSpPr>
          <p:nvPr/>
        </p:nvCxnSpPr>
        <p:spPr>
          <a:xfrm rot="16200000" flipH="1">
            <a:off x="1555443" y="860904"/>
            <a:ext cx="245349" cy="264841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49">
            <a:extLst>
              <a:ext uri="{FF2B5EF4-FFF2-40B4-BE49-F238E27FC236}">
                <a16:creationId xmlns:a16="http://schemas.microsoft.com/office/drawing/2014/main" id="{7EE806DB-2B98-674B-B2CE-2405650F65EE}"/>
              </a:ext>
            </a:extLst>
          </p:cNvPr>
          <p:cNvCxnSpPr>
            <a:cxnSpLocks/>
            <a:stCxn id="17" idx="2"/>
            <a:endCxn id="25" idx="0"/>
          </p:cNvCxnSpPr>
          <p:nvPr/>
        </p:nvCxnSpPr>
        <p:spPr>
          <a:xfrm rot="5400000">
            <a:off x="1422741" y="993043"/>
            <a:ext cx="245349" cy="565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A14AB89D-08FC-4284-803A-310DA0C99241}"/>
              </a:ext>
            </a:extLst>
          </p:cNvPr>
          <p:cNvSpPr txBox="1"/>
          <p:nvPr/>
        </p:nvSpPr>
        <p:spPr>
          <a:xfrm>
            <a:off x="2435137" y="1116000"/>
            <a:ext cx="203300" cy="135428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lIns="0" tIns="0" rIns="0" bIns="12198" rtlCol="0">
            <a:spAutoFit/>
          </a:bodyPr>
          <a:lstStyle>
            <a:defPPr>
              <a:defRPr lang="de-DE"/>
            </a:defPPr>
            <a:lvl1pPr algn="ctr">
              <a:defRPr sz="799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sz="800" b="1" dirty="0">
                <a:solidFill>
                  <a:srgbClr val="0070C0"/>
                </a:solidFill>
              </a:rPr>
              <a:t>r</a:t>
            </a:r>
            <a:endParaRPr lang="de-DE" sz="8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A63447A-1C2B-4B80-84A9-FFBD2A2DEEE7}"/>
              </a:ext>
            </a:extLst>
          </p:cNvPr>
          <p:cNvSpPr txBox="1"/>
          <p:nvPr/>
        </p:nvSpPr>
        <p:spPr>
          <a:xfrm>
            <a:off x="74406" y="1116000"/>
            <a:ext cx="203300" cy="135428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lIns="0" tIns="0" rIns="0" bIns="12198" rtlCol="0">
            <a:spAutoFit/>
          </a:bodyPr>
          <a:lstStyle>
            <a:defPPr>
              <a:defRPr lang="de-DE"/>
            </a:defPPr>
            <a:lvl1pPr algn="ctr">
              <a:defRPr sz="799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sz="800" b="1" dirty="0">
                <a:solidFill>
                  <a:srgbClr val="0070C0"/>
                </a:solidFill>
              </a:rPr>
              <a:t>r</a:t>
            </a:r>
            <a:r>
              <a:rPr lang="de-DE" sz="800" b="1" baseline="-25000" dirty="0">
                <a:solidFill>
                  <a:srgbClr val="0070C0"/>
                </a:solidFill>
              </a:rPr>
              <a:t>1</a:t>
            </a:r>
            <a:endParaRPr lang="de-DE" sz="8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37C0E8CB-BFD3-49CB-A46A-4906C826F4F4}"/>
              </a:ext>
            </a:extLst>
          </p:cNvPr>
          <p:cNvSpPr txBox="1"/>
          <p:nvPr/>
        </p:nvSpPr>
        <p:spPr>
          <a:xfrm>
            <a:off x="326518" y="1116000"/>
            <a:ext cx="203300" cy="135428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lIns="0" tIns="0" rIns="0" bIns="12198" rtlCol="0">
            <a:spAutoFit/>
          </a:bodyPr>
          <a:lstStyle>
            <a:defPPr>
              <a:defRPr lang="de-DE"/>
            </a:defPPr>
            <a:lvl1pPr algn="ctr">
              <a:defRPr sz="799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sz="800" b="1" dirty="0">
                <a:solidFill>
                  <a:srgbClr val="0070C0"/>
                </a:solidFill>
              </a:rPr>
              <a:t>r</a:t>
            </a:r>
            <a:r>
              <a:rPr lang="de-DE" sz="800" b="1" baseline="-25000" dirty="0">
                <a:solidFill>
                  <a:srgbClr val="0070C0"/>
                </a:solidFill>
              </a:rPr>
              <a:t>2</a:t>
            </a:r>
            <a:endParaRPr lang="de-DE" sz="800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651DA3D-F409-4B0C-822D-257E344655C2}"/>
              </a:ext>
            </a:extLst>
          </p:cNvPr>
          <p:cNvSpPr txBox="1"/>
          <p:nvPr/>
        </p:nvSpPr>
        <p:spPr>
          <a:xfrm>
            <a:off x="830738" y="1116000"/>
            <a:ext cx="203300" cy="135428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lIns="0" tIns="0" rIns="0" bIns="12198" rtlCol="0">
            <a:spAutoFit/>
          </a:bodyPr>
          <a:lstStyle>
            <a:defPPr>
              <a:defRPr lang="de-DE"/>
            </a:defPPr>
            <a:lvl1pPr algn="ctr">
              <a:defRPr sz="799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sz="800" b="1" dirty="0">
                <a:solidFill>
                  <a:schemeClr val="accent2"/>
                </a:solidFill>
              </a:rPr>
              <a:t>I</a:t>
            </a:r>
            <a:endParaRPr lang="de-DE" sz="800" dirty="0">
              <a:solidFill>
                <a:schemeClr val="accent2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9AD2475-2987-A842-896A-35DC95A630CB}"/>
              </a:ext>
            </a:extLst>
          </p:cNvPr>
          <p:cNvSpPr txBox="1"/>
          <p:nvPr/>
        </p:nvSpPr>
        <p:spPr>
          <a:xfrm>
            <a:off x="578629" y="1116000"/>
            <a:ext cx="203300" cy="135428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lIns="0" tIns="0" rIns="0" bIns="12198" rtlCol="0">
            <a:spAutoFit/>
          </a:bodyPr>
          <a:lstStyle>
            <a:defPPr>
              <a:defRPr lang="de-DE"/>
            </a:defPPr>
            <a:lvl1pPr algn="ctr">
              <a:defRPr sz="799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sz="800" b="1" dirty="0">
                <a:solidFill>
                  <a:srgbClr val="0070C0"/>
                </a:solidFill>
              </a:rPr>
              <a:t>r</a:t>
            </a:r>
            <a:r>
              <a:rPr lang="de-DE" sz="800" b="1" baseline="-25000" dirty="0">
                <a:solidFill>
                  <a:srgbClr val="0070C0"/>
                </a:solidFill>
              </a:rPr>
              <a:t>3</a:t>
            </a:r>
            <a:endParaRPr lang="de-DE" sz="800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0B20FEE8-00D0-0148-B5A1-02395C73BF26}"/>
              </a:ext>
            </a:extLst>
          </p:cNvPr>
          <p:cNvSpPr txBox="1"/>
          <p:nvPr/>
        </p:nvSpPr>
        <p:spPr>
          <a:xfrm>
            <a:off x="1172431" y="1116000"/>
            <a:ext cx="203300" cy="135428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lIns="0" tIns="0" rIns="0" bIns="12198" rtlCol="0">
            <a:spAutoFit/>
          </a:bodyPr>
          <a:lstStyle>
            <a:defPPr>
              <a:defRPr lang="de-DE"/>
            </a:defPPr>
            <a:lvl1pPr algn="ctr">
              <a:defRPr sz="799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sz="800" b="1" dirty="0">
                <a:solidFill>
                  <a:srgbClr val="0070C0"/>
                </a:solidFill>
              </a:rPr>
              <a:t>r</a:t>
            </a:r>
            <a:r>
              <a:rPr lang="de-DE" sz="800" b="1" baseline="-25000" dirty="0">
                <a:solidFill>
                  <a:srgbClr val="0070C0"/>
                </a:solidFill>
              </a:rPr>
              <a:t>1</a:t>
            </a:r>
            <a:endParaRPr lang="de-DE" sz="800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0CFCE-8F79-2748-A0DC-69CB548BC31E}"/>
              </a:ext>
            </a:extLst>
          </p:cNvPr>
          <p:cNvSpPr txBox="1"/>
          <p:nvPr/>
        </p:nvSpPr>
        <p:spPr>
          <a:xfrm>
            <a:off x="1443482" y="1116000"/>
            <a:ext cx="203300" cy="135428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lIns="0" tIns="0" rIns="0" bIns="12198" rtlCol="0">
            <a:spAutoFit/>
          </a:bodyPr>
          <a:lstStyle>
            <a:defPPr>
              <a:defRPr lang="de-DE"/>
            </a:defPPr>
            <a:lvl1pPr algn="ctr">
              <a:defRPr sz="799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sz="800" b="1" dirty="0" smtClean="0">
                <a:solidFill>
                  <a:srgbClr val="0070C0"/>
                </a:solidFill>
              </a:rPr>
              <a:t>r</a:t>
            </a:r>
            <a:r>
              <a:rPr lang="de-DE" sz="800" b="1" baseline="-25000" dirty="0">
                <a:solidFill>
                  <a:srgbClr val="0070C0"/>
                </a:solidFill>
              </a:rPr>
              <a:t>2</a:t>
            </a:r>
            <a:endParaRPr lang="de-DE" sz="800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97958E50-51BB-1746-8A51-02D6A152745F}"/>
              </a:ext>
            </a:extLst>
          </p:cNvPr>
          <p:cNvSpPr txBox="1"/>
          <p:nvPr/>
        </p:nvSpPr>
        <p:spPr>
          <a:xfrm>
            <a:off x="1708888" y="1116000"/>
            <a:ext cx="203300" cy="135428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lIns="0" tIns="0" rIns="0" bIns="12198" rtlCol="0">
            <a:spAutoFit/>
          </a:bodyPr>
          <a:lstStyle>
            <a:defPPr>
              <a:defRPr lang="de-DE"/>
            </a:defPPr>
            <a:lvl1pPr algn="ctr">
              <a:defRPr sz="799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sz="800" b="1" dirty="0">
                <a:solidFill>
                  <a:schemeClr val="accent2"/>
                </a:solidFill>
              </a:rPr>
              <a:t>I</a:t>
            </a:r>
            <a:endParaRPr lang="de-DE" sz="800" dirty="0">
              <a:solidFill>
                <a:schemeClr val="accent2"/>
              </a:solidFill>
            </a:endParaRPr>
          </a:p>
        </p:txBody>
      </p:sp>
      <p:cxnSp>
        <p:nvCxnSpPr>
          <p:cNvPr id="27" name="Verbinder: gewinkelt 48">
            <a:extLst>
              <a:ext uri="{FF2B5EF4-FFF2-40B4-BE49-F238E27FC236}">
                <a16:creationId xmlns:a16="http://schemas.microsoft.com/office/drawing/2014/main" id="{7C7D2E2D-0EE9-1F48-9E63-73E8F7402427}"/>
              </a:ext>
            </a:extLst>
          </p:cNvPr>
          <p:cNvCxnSpPr>
            <a:cxnSpLocks/>
            <a:stCxn id="11" idx="2"/>
            <a:endCxn id="23" idx="0"/>
          </p:cNvCxnSpPr>
          <p:nvPr/>
        </p:nvCxnSpPr>
        <p:spPr>
          <a:xfrm rot="16200000" flipH="1">
            <a:off x="493466" y="929186"/>
            <a:ext cx="245349" cy="128277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Verbinder: gewinkelt 48">
            <a:extLst>
              <a:ext uri="{FF2B5EF4-FFF2-40B4-BE49-F238E27FC236}">
                <a16:creationId xmlns:a16="http://schemas.microsoft.com/office/drawing/2014/main" id="{E66286E5-5260-334B-B50A-5114534B768B}"/>
              </a:ext>
            </a:extLst>
          </p:cNvPr>
          <p:cNvCxnSpPr>
            <a:cxnSpLocks/>
            <a:stCxn id="11" idx="2"/>
            <a:endCxn id="21" idx="0"/>
          </p:cNvCxnSpPr>
          <p:nvPr/>
        </p:nvCxnSpPr>
        <p:spPr>
          <a:xfrm rot="5400000">
            <a:off x="367411" y="931408"/>
            <a:ext cx="245349" cy="12383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Verbinder: gewinkelt 48">
            <a:extLst>
              <a:ext uri="{FF2B5EF4-FFF2-40B4-BE49-F238E27FC236}">
                <a16:creationId xmlns:a16="http://schemas.microsoft.com/office/drawing/2014/main" id="{72BB2058-52A4-EE46-8E68-6E9ECB8BA398}"/>
              </a:ext>
            </a:extLst>
          </p:cNvPr>
          <p:cNvCxnSpPr>
            <a:cxnSpLocks/>
            <a:stCxn id="11" idx="2"/>
            <a:endCxn id="20" idx="0"/>
          </p:cNvCxnSpPr>
          <p:nvPr/>
        </p:nvCxnSpPr>
        <p:spPr>
          <a:xfrm rot="5400000">
            <a:off x="241355" y="805352"/>
            <a:ext cx="245349" cy="375946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Verbinder: gewinkelt 48">
            <a:extLst>
              <a:ext uri="{FF2B5EF4-FFF2-40B4-BE49-F238E27FC236}">
                <a16:creationId xmlns:a16="http://schemas.microsoft.com/office/drawing/2014/main" id="{C9C5F8F9-367F-964D-B8FF-411F182675A3}"/>
              </a:ext>
            </a:extLst>
          </p:cNvPr>
          <p:cNvCxnSpPr>
            <a:cxnSpLocks/>
            <a:stCxn id="17" idx="2"/>
            <a:endCxn id="24" idx="0"/>
          </p:cNvCxnSpPr>
          <p:nvPr/>
        </p:nvCxnSpPr>
        <p:spPr>
          <a:xfrm rot="5400000">
            <a:off x="1287215" y="857517"/>
            <a:ext cx="245349" cy="271616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Verbinder: gewinkelt 26">
            <a:extLst>
              <a:ext uri="{FF2B5EF4-FFF2-40B4-BE49-F238E27FC236}">
                <a16:creationId xmlns:a16="http://schemas.microsoft.com/office/drawing/2014/main" id="{AAEB10D7-0DB8-2740-AEED-9B002DFEDCC4}"/>
              </a:ext>
            </a:extLst>
          </p:cNvPr>
          <p:cNvCxnSpPr>
            <a:cxnSpLocks/>
            <a:stCxn id="5" idx="2"/>
            <a:endCxn id="11" idx="0"/>
          </p:cNvCxnSpPr>
          <p:nvPr/>
        </p:nvCxnSpPr>
        <p:spPr>
          <a:xfrm rot="5400000">
            <a:off x="923522" y="125362"/>
            <a:ext cx="250659" cy="993697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Verbinder: gewinkelt 26">
            <a:extLst>
              <a:ext uri="{FF2B5EF4-FFF2-40B4-BE49-F238E27FC236}">
                <a16:creationId xmlns:a16="http://schemas.microsoft.com/office/drawing/2014/main" id="{54E44BC5-2B8A-9749-93AE-97FC85F89C67}"/>
              </a:ext>
            </a:extLst>
          </p:cNvPr>
          <p:cNvCxnSpPr>
            <a:cxnSpLocks/>
            <a:stCxn id="5" idx="2"/>
            <a:endCxn id="17" idx="0"/>
          </p:cNvCxnSpPr>
          <p:nvPr/>
        </p:nvCxnSpPr>
        <p:spPr>
          <a:xfrm rot="5400000">
            <a:off x="1420369" y="622209"/>
            <a:ext cx="250659" cy="2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MANKy4CRjkggxgH1yQ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</Words>
  <Application>Microsoft Office PowerPoint</Application>
  <PresentationFormat>Benutzerdefiniert</PresentationFormat>
  <Paragraphs>15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Times New Roman</vt:lpstr>
      <vt:lpstr>blank</vt:lpstr>
      <vt:lpstr>think-cell Folie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Becker</dc:creator>
  <cp:lastModifiedBy>Daniel Becker</cp:lastModifiedBy>
  <cp:revision>15</cp:revision>
  <cp:lastPrinted>2020-02-06T09:58:55Z</cp:lastPrinted>
  <dcterms:created xsi:type="dcterms:W3CDTF">2020-02-06T09:29:41Z</dcterms:created>
  <dcterms:modified xsi:type="dcterms:W3CDTF">2020-02-06T10:04:36Z</dcterms:modified>
</cp:coreProperties>
</file>